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428" r:id="rId2"/>
    <p:sldId id="432" r:id="rId3"/>
    <p:sldId id="434" r:id="rId4"/>
    <p:sldId id="433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0406"/>
    <p:restoredTop sz="95023"/>
  </p:normalViewPr>
  <p:slideViewPr>
    <p:cSldViewPr snapToGrid="0" snapToObjects="1">
      <p:cViewPr varScale="1">
        <p:scale>
          <a:sx n="99" d="100"/>
          <a:sy n="99" d="100"/>
        </p:scale>
        <p:origin x="184" y="4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1.02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 Challenge 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igital Skills | Technologische Skills | Challenge 4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1.02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Challenge 04:</a:t>
            </a:r>
            <a:br>
              <a:rPr lang="de-DE" dirty="0"/>
            </a:br>
            <a:r>
              <a:rPr lang="de-DE" dirty="0"/>
              <a:t>Grundlagen der Programmierung mit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7446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4217063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2691908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03C40E3-F5CA-F947-AFA8-F461945BD648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4DFF52-89FA-3D46-9139-633540144AA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BF075C7-0151-504F-B735-270F794A4F4F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DAAAD9F-AFC5-1346-9871-B75C238558FD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5BCCEE6-C5DF-5343-9704-BF0CAD8697C5}"/>
              </a:ext>
            </a:extLst>
          </p:cNvPr>
          <p:cNvSpPr txBox="1"/>
          <p:nvPr/>
        </p:nvSpPr>
        <p:spPr>
          <a:xfrm>
            <a:off x="4823015" y="4017540"/>
            <a:ext cx="1149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Rückgabe</a:t>
            </a:r>
          </a:p>
        </p:txBody>
      </p:sp>
    </p:spTree>
    <p:extLst>
      <p:ext uri="{BB962C8B-B14F-4D97-AF65-F5344CB8AC3E}">
        <p14:creationId xmlns:p14="http://schemas.microsoft.com/office/powerpoint/2010/main" val="1915475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24</Words>
  <Application>Microsoft Macintosh PowerPoint</Application>
  <PresentationFormat>Widescreen</PresentationFormat>
  <Paragraphs>1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hakra Petch SemiBold</vt:lpstr>
      <vt:lpstr>Lato Light</vt:lpstr>
      <vt:lpstr>Source Code Pro</vt:lpstr>
      <vt:lpstr>Trebuchet MS</vt:lpstr>
      <vt:lpstr>Wingdings</vt:lpstr>
      <vt:lpstr>Office</vt:lpstr>
      <vt:lpstr>think-cell Slide</vt:lpstr>
      <vt:lpstr>Challenge 04: Grundlagen der Programmierung mit Pyth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57</cp:revision>
  <dcterms:created xsi:type="dcterms:W3CDTF">2022-02-03T14:23:38Z</dcterms:created>
  <dcterms:modified xsi:type="dcterms:W3CDTF">2022-02-21T11:07:44Z</dcterms:modified>
  <cp:category/>
</cp:coreProperties>
</file>